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92157" autoAdjust="0"/>
  </p:normalViewPr>
  <p:slideViewPr>
    <p:cSldViewPr snapToGrid="0">
      <p:cViewPr varScale="1">
        <p:scale>
          <a:sx n="102" d="100"/>
          <a:sy n="102" d="100"/>
        </p:scale>
        <p:origin x="876" y="10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01BD1D87-133A-4E3B-A041-791829AF77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2F5771A4-00F2-4147-9933-B834744892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39CCFA5D-6115-4469-8605-4A62E0DE8C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1</c:v>
                </c:pt>
                <c:pt idx="1">
                  <c:v>0.4</c:v>
                </c:pt>
                <c:pt idx="2">
                  <c:v>0.31</c:v>
                </c:pt>
                <c:pt idx="3">
                  <c:v>7.0000000000000007E-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1%</c:v>
                  </c:pt>
                  <c:pt idx="1">
                    <c:v>40%</c:v>
                  </c:pt>
                  <c:pt idx="2">
                    <c:v>31%</c:v>
                  </c:pt>
                  <c:pt idx="3">
                    <c:v>7%</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066EE292-0F22-495C-A64C-67EDE505C4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AE7EF51F-93C0-4181-9BEF-E0FBD00EB0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D381140F-676E-4387-A1C1-ACFF3C81A0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7</c:v>
                </c:pt>
                <c:pt idx="2">
                  <c:v>0.48</c:v>
                </c:pt>
                <c:pt idx="3">
                  <c:v>0.35</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17%</c:v>
                  </c:pt>
                  <c:pt idx="2">
                    <c:v>48%</c:v>
                  </c:pt>
                  <c:pt idx="3">
                    <c:v>35%</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9</c:v>
                </c:pt>
                <c:pt idx="1">
                  <c:v>0.83</c:v>
                </c:pt>
                <c:pt idx="2">
                  <c:v>0.85</c:v>
                </c:pt>
                <c:pt idx="3">
                  <c:v>0.9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114FC53E-38DF-4850-88B7-2192D3A8284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F18EB4C9-D264-4203-B0A7-84A2D2B2B4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AF394FCE-1971-4B7E-82AD-3973E3263ED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21</c:v>
                </c:pt>
                <c:pt idx="1">
                  <c:v>0.17</c:v>
                </c:pt>
                <c:pt idx="2">
                  <c:v>0.15</c:v>
                </c:pt>
                <c:pt idx="3">
                  <c:v>0.0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79%</c:v>
                  </c:pt>
                  <c:pt idx="1">
                    <c:v>83%</c:v>
                  </c:pt>
                  <c:pt idx="2">
                    <c:v>85%</c:v>
                  </c:pt>
                  <c:pt idx="3">
                    <c:v>9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3</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B3A63C32-E6A9-43BF-898D-28F2F165AA5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7EF64D2F-9783-4992-9754-99DBE629D66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95C71971-BFCF-4F81-8936-8627DB2D496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E155C0F7-1808-48A0-80D2-7772E0E26DB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7</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5A523ED7-171C-419C-B787-5D7BD36FE46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80B17CE1-BE15-427A-9076-0CD79B8F274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5F001EAE-C7DA-4ED0-AEDB-E67F1A70EF8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428B1DCF-4DFB-46D7-9E37-30B8E3755E2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85%</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3</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B19F5D80-097C-4247-AEAF-FE1C3C52FD4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8061CC13-C6F4-4220-90EC-E42D7ED2A0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7</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3%</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5</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5%</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9</c:v>
                </c:pt>
                <c:pt idx="1">
                  <c:v>0.87</c:v>
                </c:pt>
                <c:pt idx="2">
                  <c:v>0.86</c:v>
                </c:pt>
                <c:pt idx="3">
                  <c:v>0.83</c:v>
                </c:pt>
                <c:pt idx="4">
                  <c:v>0.7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7536F248-2643-40BC-A227-12DEC96872E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D369EDBC-C1FE-49E8-88BD-8A05A29B039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D2F73D46-FCCE-4DF1-8260-69DC981B20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10A0D057-8BA3-4070-93C9-BBBB011FCA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1</c:v>
                </c:pt>
                <c:pt idx="1">
                  <c:v>0.13</c:v>
                </c:pt>
                <c:pt idx="2">
                  <c:v>0.14000000000000001</c:v>
                </c:pt>
                <c:pt idx="3">
                  <c:v>0.17</c:v>
                </c:pt>
                <c:pt idx="4">
                  <c:v>0.2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87%</c:v>
                  </c:pt>
                  <c:pt idx="2">
                    <c:v>86%</c:v>
                  </c:pt>
                  <c:pt idx="3">
                    <c:v>83%</c:v>
                  </c:pt>
                  <c:pt idx="4">
                    <c:v>79%</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2</c:v>
                </c:pt>
                <c:pt idx="2">
                  <c:v>0.87</c:v>
                </c:pt>
                <c:pt idx="3">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9ECCD17B-A8AC-4D45-981F-98E0D88E13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DD729FDD-3B93-4744-8A6A-5AE3877D859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419A656E-A243-42D1-8D46-6B4031F10BA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8000000000000003</c:v>
                </c:pt>
                <c:pt idx="2">
                  <c:v>0.13</c:v>
                </c:pt>
                <c:pt idx="3">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72%</c:v>
                  </c:pt>
                  <c:pt idx="2">
                    <c:v>87%</c:v>
                  </c:pt>
                  <c:pt idx="3">
                    <c:v>87%</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6</c:v>
                </c:pt>
                <c:pt idx="1">
                  <c:v>0</c:v>
                </c:pt>
                <c:pt idx="2">
                  <c:v>0.66</c:v>
                </c:pt>
                <c:pt idx="3">
                  <c:v>0.97</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7DE13B6B-2418-4259-8FAA-64C972087D1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A6D58525-9E78-4962-8119-BA2900A2B2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6A3FF9C6-F5E4-4460-B07E-03D39C056B8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1AAB97EB-71C6-4C69-8006-FEB82C3A0A2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4000000000000001</c:v>
                </c:pt>
                <c:pt idx="1">
                  <c:v>0</c:v>
                </c:pt>
                <c:pt idx="2">
                  <c:v>0.34</c:v>
                </c:pt>
                <c:pt idx="3">
                  <c:v>0.03</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6%</c:v>
                  </c:pt>
                  <c:pt idx="1">
                    <c:v>-</c:v>
                  </c:pt>
                  <c:pt idx="2">
                    <c:v>66%</c:v>
                  </c:pt>
                  <c:pt idx="3">
                    <c:v>97%</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c:v>
                </c:pt>
                <c:pt idx="1">
                  <c:v>0.88</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E1147B4C-CEDD-4091-AE05-51C24BCD78C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E6805FFD-95AF-4855-B487-2F9EC222C49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9B6B473C-AD65-42BC-A711-A9FDEF77F90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F0E8EF69-3C13-410C-8CEE-C85E33A5253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c:v>
                </c:pt>
                <c:pt idx="1">
                  <c:v>0.12</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0%</c:v>
                  </c:pt>
                  <c:pt idx="1">
                    <c:v>88%</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1068D201-811C-4E10-A91B-FF2201864E5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4B4BE6D6-70DB-49F7-BA5C-7AF74953F8D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5</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5%</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89</c:v>
                </c:pt>
                <c:pt idx="2">
                  <c:v>4</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3</c:v>
                </c:pt>
                <c:pt idx="1">
                  <c:v>6</c:v>
                </c:pt>
                <c:pt idx="2">
                  <c:v>1</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74E591EB-67EB-4D98-897A-1406DCC938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6CC6B570-36DA-4DC1-B772-7EF4773B91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A6D1DC47-2043-47D5-AFB0-2158BD002A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FC93512B-D51D-4A09-A3B9-FA93A13AA3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130A590B-AEB3-42BF-B136-062EFAC573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A49E9358-3A31-474A-8EB2-C237463071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6</c:v>
                </c:pt>
                <c:pt idx="2">
                  <c:v>4</c:v>
                </c:pt>
                <c:pt idx="3">
                  <c:v>2</c:v>
                </c:pt>
                <c:pt idx="4">
                  <c:v>3</c:v>
                </c:pt>
                <c:pt idx="5">
                  <c:v>4</c:v>
                </c:pt>
                <c:pt idx="6">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0%</c:v>
                  </c:pt>
                  <c:pt idx="1">
                    <c:v>6%</c:v>
                  </c:pt>
                  <c:pt idx="2">
                    <c:v>4%</c:v>
                  </c:pt>
                  <c:pt idx="3">
                    <c:v>2%</c:v>
                  </c:pt>
                  <c:pt idx="4">
                    <c:v>3%</c:v>
                  </c:pt>
                  <c:pt idx="5">
                    <c:v>4%</c:v>
                  </c:pt>
                  <c:pt idx="6">
                    <c:v>39%</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C4A0EA32-F7DC-4F88-BA92-58792488DA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A0CF87CA-DA2A-4E49-885A-793BF0AAC2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B1318A6C-71F9-4C16-8E63-3E9CD2226D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63F1DA2F-8B56-48E1-9173-36D471484B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CE01DEDC-BCEF-4DDF-8839-2DAB9CFE62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7E55320E-51A9-4E2B-9F26-7EB94E4B1D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5</c:v>
                </c:pt>
                <c:pt idx="1">
                  <c:v>10</c:v>
                </c:pt>
                <c:pt idx="2">
                  <c:v>3</c:v>
                </c:pt>
                <c:pt idx="3">
                  <c:v>3</c:v>
                </c:pt>
                <c:pt idx="4">
                  <c:v>13</c:v>
                </c:pt>
                <c:pt idx="5">
                  <c:v>6</c:v>
                </c:pt>
                <c:pt idx="6">
                  <c:v>2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5%</c:v>
                  </c:pt>
                  <c:pt idx="1">
                    <c:v>10%</c:v>
                  </c:pt>
                  <c:pt idx="2">
                    <c:v>3%</c:v>
                  </c:pt>
                  <c:pt idx="3">
                    <c:v>3%</c:v>
                  </c:pt>
                  <c:pt idx="4">
                    <c:v>13%</c:v>
                  </c:pt>
                  <c:pt idx="5">
                    <c:v>6%</c:v>
                  </c:pt>
                  <c:pt idx="6">
                    <c:v>29%</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F63DB473-D690-4F56-9B50-DFC2EBF5B6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0965453C-E1EB-48C8-92BE-3AD0DE7812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A8F265C5-5EDD-457C-A6C0-EC22543FE63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B1B09CAB-A700-4607-83E2-B6A9ADE6D2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5192AC51-4D3C-4FA8-9341-F364FA3C4D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339C8E3F-0859-4946-9270-2F495E5ED4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00800D2F-E320-4BBC-B7F3-600970EA14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FEAB27BA-C4C4-4CEF-8769-81A2A20D89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2A3306D6-B5CA-4C4C-A22D-72FC744460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1CFB5F3A-EE57-47E1-838C-28496BA5698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5</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405F2C2E-DCD4-41F1-81B4-ADC29276723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907E1EC9-C8E3-4559-AFF5-4AEAB5509B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E3D84668-DC39-4846-8136-73A0EC8842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A002ED39-DB5F-499B-A49A-D35B7DA2EC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000000000000005</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6%</c:v>
                  </c:pt>
                  <c:pt idx="1">
                    <c:v>44%</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08365F5A-0A03-48A3-AE75-6BC3802C17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2DBDACF5-9C36-46D2-ACB6-A34B7933FF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3</c:v>
                </c:pt>
                <c:pt idx="1">
                  <c:v>7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3%</c:v>
                  </c:pt>
                  <c:pt idx="1">
                    <c:v>77%</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D937C88A-E99B-4ADB-B9B5-F3D192E6B7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B67B136A-5D18-41E9-BF83-A8CD3ED70F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c:v>
                  </c:pt>
                  <c:pt idx="1">
                    <c:v>95%</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8F5503D6-B119-4886-B674-EEB4E2E7D5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7BD264A4-5B71-46AC-8078-5DE1EBEDF9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5725FDB3-98FF-40ED-AEB9-1E789F1BBB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8D7D6712-62DA-46CA-8AAF-965D62CA34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r>
                      <a:rPr lang="en-GB"/>
                      <a:t>66%</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14C265B2-43AE-4AC5-9907-4A6E59F6B6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A8C6C55C-522E-4945-B0B2-7F6FDA5440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EF11DDE6-46FF-4372-B772-2DA194CE35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91</c:v>
                </c:pt>
                <c:pt idx="2">
                  <c:v>85</c:v>
                </c:pt>
                <c:pt idx="3">
                  <c:v>66</c:v>
                </c:pt>
                <c:pt idx="4">
                  <c:v>91</c:v>
                </c:pt>
                <c:pt idx="5">
                  <c:v>34</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2%</c:v>
                  </c:pt>
                  <c:pt idx="1">
                    <c:v>91%</c:v>
                  </c:pt>
                  <c:pt idx="2">
                    <c:v>85%p</c:v>
                  </c:pt>
                  <c:pt idx="3">
                    <c:v>66%q</c:v>
                  </c:pt>
                  <c:pt idx="4">
                    <c:v>91%</c:v>
                  </c:pt>
                  <c:pt idx="5">
                    <c:v>34%</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918CA078-C433-42E5-953D-DC2E79B88F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41090657-DCE6-4F7D-9443-6A3DBC1836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CE18393C-CED0-4838-973D-F060044869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01E5A512-5C3B-4F91-B071-8B231D8CF7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7993224D-A6CD-41F7-88BF-61E8AAD497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4A1F2A58-92A4-448C-A8C6-46E5B38936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r>
                      <a:rPr lang="en-GB"/>
                      <a:t>*</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3</c:v>
                </c:pt>
                <c:pt idx="1">
                  <c:v>89</c:v>
                </c:pt>
                <c:pt idx="2">
                  <c:v>74</c:v>
                </c:pt>
                <c:pt idx="3">
                  <c:v>69</c:v>
                </c:pt>
                <c:pt idx="4">
                  <c:v>90</c:v>
                </c:pt>
                <c:pt idx="5">
                  <c:v>40</c:v>
                </c:pt>
                <c:pt idx="6">
                  <c:v>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3%</c:v>
                  </c:pt>
                  <c:pt idx="1">
                    <c:v>89%</c:v>
                  </c:pt>
                  <c:pt idx="2">
                    <c:v>74%</c:v>
                  </c:pt>
                  <c:pt idx="3">
                    <c:v>69%</c:v>
                  </c:pt>
                  <c:pt idx="4">
                    <c:v>90%</c:v>
                  </c:pt>
                  <c:pt idx="5">
                    <c:v>40%</c:v>
                  </c:pt>
                  <c:pt idx="6">
                    <c:v>*q</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7</c:v>
                </c:pt>
                <c:pt idx="1">
                  <c:v>26</c:v>
                </c:pt>
                <c:pt idx="2">
                  <c:v>11</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7</c:v>
                </c:pt>
                <c:pt idx="1">
                  <c:v>29</c:v>
                </c:pt>
                <c:pt idx="2">
                  <c:v>16</c:v>
                </c:pt>
                <c:pt idx="3">
                  <c:v>6</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147E3910-2B24-465A-A44D-55675DFC6F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4CAFEFC0-FA23-4A8F-8AC4-6412904872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02</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2%</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765A64DD-570D-48BD-95B2-4069C7F96B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733E3917-E1B0-4F65-95E3-BC87BA7C79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6</c:v>
                </c:pt>
                <c:pt idx="2">
                  <c:v>6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43</c:v>
                </c:pt>
                <c:pt idx="2">
                  <c:v>4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6</c:v>
                </c:pt>
                <c:pt idx="2">
                  <c:v>29</c:v>
                </c:pt>
                <c:pt idx="3">
                  <c:v>20</c:v>
                </c:pt>
                <c:pt idx="4">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4</c:v>
                </c:pt>
                <c:pt idx="2">
                  <c:v>21</c:v>
                </c:pt>
                <c:pt idx="3">
                  <c:v>20</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7599999999999999</c:v>
                </c:pt>
                <c:pt idx="1">
                  <c:v>0.19500000000000001</c:v>
                </c:pt>
                <c:pt idx="2">
                  <c:v>0.25800000000000001</c:v>
                </c:pt>
                <c:pt idx="3">
                  <c:v>0.20899999999999999</c:v>
                </c:pt>
                <c:pt idx="4">
                  <c:v>0.162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20200000000000001</c:v>
                </c:pt>
                <c:pt idx="1">
                  <c:v>0.189</c:v>
                </c:pt>
                <c:pt idx="2">
                  <c:v>0.246</c:v>
                </c:pt>
                <c:pt idx="3">
                  <c:v>0.22600000000000001</c:v>
                </c:pt>
                <c:pt idx="4">
                  <c:v>0.137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7</c:v>
                </c:pt>
                <c:pt idx="1">
                  <c:v>10</c:v>
                </c:pt>
                <c:pt idx="2">
                  <c:v>28</c:v>
                </c:pt>
                <c:pt idx="3">
                  <c:v>24</c:v>
                </c:pt>
                <c:pt idx="4">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5</c:v>
                </c:pt>
                <c:pt idx="2">
                  <c:v>19</c:v>
                </c:pt>
                <c:pt idx="3">
                  <c:v>24</c:v>
                </c:pt>
                <c:pt idx="4">
                  <c:v>3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22</c:v>
                </c:pt>
                <c:pt idx="2">
                  <c:v>26</c:v>
                </c:pt>
                <c:pt idx="3">
                  <c:v>22</c:v>
                </c:pt>
                <c:pt idx="4">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9</c:v>
                </c:pt>
                <c:pt idx="1">
                  <c:v>29</c:v>
                </c:pt>
                <c:pt idx="2">
                  <c:v>18</c:v>
                </c:pt>
                <c:pt idx="3">
                  <c:v>17</c:v>
                </c:pt>
                <c:pt idx="4">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3A2EE24D-F876-4699-894C-EA13C98A66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7A243867-A673-40FD-92B8-48CD2B293B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A2C6E8E2-DA9B-41C4-9754-09FF3C438A9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F8410B70-EDA7-42DF-87FC-4EDA92307B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4</c:v>
                </c:pt>
                <c:pt idx="1">
                  <c:v>0</c:v>
                </c:pt>
                <c:pt idx="2">
                  <c:v>0.03</c:v>
                </c:pt>
                <c:pt idx="3">
                  <c:v>0.02</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4%</c:v>
                  </c:pt>
                  <c:pt idx="1">
                    <c:v>-</c:v>
                  </c:pt>
                  <c:pt idx="2">
                    <c:v>3%</c:v>
                  </c:pt>
                  <c:pt idx="3">
                    <c:v>2%</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4F2E732A-17B9-4F2D-B95A-FA1A6D74D0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AAC9B605-F59D-4FD8-9C76-327CB87B44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E161EDA8-3F9D-4953-8B1D-36557955B8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B4376566-CBBD-46B9-B23B-E98FD8A44B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7</c:v>
                </c:pt>
                <c:pt idx="1">
                  <c:v>0</c:v>
                </c:pt>
                <c:pt idx="2">
                  <c:v>7.0000000000000007E-2</c:v>
                </c:pt>
                <c:pt idx="3">
                  <c:v>0.04</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87%</c:v>
                  </c:pt>
                  <c:pt idx="1">
                    <c:v>-</c:v>
                  </c:pt>
                  <c:pt idx="2">
                    <c:v>7%</c:v>
                  </c:pt>
                  <c:pt idx="3">
                    <c:v>4%</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9</c:v>
                </c:pt>
                <c:pt idx="2">
                  <c:v>31</c:v>
                </c:pt>
                <c:pt idx="3">
                  <c:v>20</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5</c:v>
                </c:pt>
                <c:pt idx="2">
                  <c:v>27</c:v>
                </c:pt>
                <c:pt idx="3">
                  <c:v>17</c:v>
                </c:pt>
                <c:pt idx="4">
                  <c:v>2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9</c:v>
                </c:pt>
                <c:pt idx="1">
                  <c:v>21</c:v>
                </c:pt>
                <c:pt idx="2">
                  <c:v>44</c:v>
                </c:pt>
                <c:pt idx="3">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3</c:v>
                </c:pt>
                <c:pt idx="1">
                  <c:v>38</c:v>
                </c:pt>
                <c:pt idx="2">
                  <c:v>34</c:v>
                </c:pt>
                <c:pt idx="3">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5</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5</c:v>
                </c:pt>
                <c:pt idx="2">
                  <c:v>12</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5</c:v>
                </c:pt>
                <c:pt idx="1">
                  <c:v>27</c:v>
                </c:pt>
                <c:pt idx="2">
                  <c:v>5</c:v>
                </c:pt>
                <c:pt idx="3">
                  <c:v>1</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1</c:v>
                </c:pt>
                <c:pt idx="2">
                  <c:v>14</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7</c:v>
                </c:pt>
                <c:pt idx="1">
                  <c:v>58</c:v>
                </c:pt>
                <c:pt idx="2">
                  <c:v>13</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B767F8E8-5F82-43DF-98D1-C38512555C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464E32DD-84D0-4EE6-80E5-E96D2A3555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8EB80DF8-6D27-44BC-AF51-A37DB6E628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B20FDE00-654C-4487-9829-1733ABFCC4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633AB95A-969F-48FE-BC1C-2D03529565F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7E844409-E782-4BB7-8696-F2B29A3E5D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5</c:v>
                </c:pt>
                <c:pt idx="1">
                  <c:v>3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5%</c:v>
                  </c:pt>
                  <c:pt idx="1">
                    <c:v>35%</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4FB56F3E-E163-4942-A080-4F59D84343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DDA9CF36-B18A-4707-A397-D16051D46D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87DF6F3C-75AA-4DD1-9F70-D7D57ABC54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8</c:v>
                </c:pt>
                <c:pt idx="1">
                  <c:v>6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8%</c:v>
                  </c:pt>
                  <c:pt idx="1">
                    <c:v>62%</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0B5689AC-108E-400B-8B49-9309D852C8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D3773D6D-B769-4A68-9633-2E6BDBFABE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D268C2DA-A0AF-4E3C-BA5D-B3EBFFC59D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A8DE7638-DD46-48D1-8943-ADFB637F20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CCDDDA0F-228D-49F5-A766-AC746B1D4D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313DC600-D49D-44CA-8CA1-759FB1A524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FF771FAB-622B-4ACE-A668-B9B6D0C9EF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F3E-4C45-9DAC-B2929C4B2C23}"/>
                </c:ext>
              </c:extLst>
            </c:dLbl>
            <c:dLbl>
              <c:idx val="1"/>
              <c:tx>
                <c:rich>
                  <a:bodyPr/>
                  <a:lstStyle/>
                  <a:p>
                    <a:r>
                      <a:rPr lang="en-GB"/>
                      <a:t>1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5%p</c:v>
                  </c:pt>
                  <c:pt idx="1">
                    <c:v>15%q</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7A99180F-68CF-45BC-87AB-A77F124780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69FC9135-FD9D-442A-9F30-24FC945133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1BAD8CB6-C74A-420E-B870-101A2595FA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21548C6F-E0DC-4746-B912-93C871CA25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7</c:v>
                </c:pt>
                <c:pt idx="1">
                  <c:v>3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7%</c:v>
                  </c:pt>
                  <c:pt idx="1">
                    <c:v>33%</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079389C3-7928-437E-B2E3-E2CE3D0DFF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33F52329-5387-4204-B645-7D2E1C9D45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2</c:v>
                </c:pt>
                <c:pt idx="1">
                  <c:v>4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2%</c:v>
                  </c:pt>
                  <c:pt idx="1">
                    <c:v>48%</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DFC537FF-61BE-4918-95A8-1B21ED13C94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A64A159D-3577-417A-979A-D47EB19370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0340A735-D022-4651-AC8B-CF20A309D9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9D9E6E77-2B00-4DBF-A702-AC727F72C4A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7</c:v>
                </c:pt>
                <c:pt idx="1">
                  <c:v>32</c:v>
                </c:pt>
                <c:pt idx="2">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6</c:v>
                </c:pt>
                <c:pt idx="1">
                  <c:v>51</c:v>
                </c:pt>
                <c:pt idx="2">
                  <c:v>1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C20434DC-5DEE-4556-A5F3-E823950C7C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69E22BEA-8B4B-45CB-B1EB-B27B874DA5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2D08F38F-18CF-400F-9D16-24DF70F86A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A9CE3785-56B7-4CDB-8C4B-2373746CDA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6B1D5D8D-C365-446D-83C8-90997F7ADE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9F829E36-32F3-494E-A13E-E3A2D35F12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6</c:v>
                </c:pt>
                <c:pt idx="1">
                  <c:v>7</c:v>
                </c:pt>
                <c:pt idx="2">
                  <c:v>65</c:v>
                </c:pt>
                <c:pt idx="3">
                  <c:v>29</c:v>
                </c:pt>
                <c:pt idx="4">
                  <c:v>17</c:v>
                </c:pt>
                <c:pt idx="5">
                  <c:v>20</c:v>
                </c:pt>
                <c:pt idx="6">
                  <c:v>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6%</c:v>
                  </c:pt>
                  <c:pt idx="1">
                    <c:v>7%</c:v>
                  </c:pt>
                  <c:pt idx="2">
                    <c:v>65%</c:v>
                  </c:pt>
                  <c:pt idx="3">
                    <c:v>29%</c:v>
                  </c:pt>
                  <c:pt idx="4">
                    <c:v>17%</c:v>
                  </c:pt>
                  <c:pt idx="5">
                    <c:v>20%</c:v>
                  </c:pt>
                  <c:pt idx="6">
                    <c:v>5%</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2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0-121A-46C7-99A3-C7EC76CE57AC}"/>
                </c:ext>
              </c:extLst>
            </c:dLbl>
            <c:dLbl>
              <c:idx val="1"/>
              <c:tx>
                <c:rich>
                  <a:bodyPr/>
                  <a:lstStyle/>
                  <a:p>
                    <a:r>
                      <a:rPr lang="en-GB"/>
                      <a:t>1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121A-46C7-99A3-C7EC76CE57AC}"/>
                </c:ext>
              </c:extLst>
            </c:dLbl>
            <c:dLbl>
              <c:idx val="2"/>
              <c:tx>
                <c:rich>
                  <a:bodyPr/>
                  <a:lstStyle/>
                  <a:p>
                    <a:fld id="{86A375CC-24CE-43A1-9DF8-646EF51F07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1609D9EF-739E-45D9-BF82-E5758A2BCF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9012F514-15C8-4453-AE9B-7F61955F63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2A1A08A5-D8B9-4BD6-BEE8-2E44E9E523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822D5487-A212-4D6A-AF2F-E161C39ACD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4</c:v>
                </c:pt>
                <c:pt idx="1">
                  <c:v>12</c:v>
                </c:pt>
                <c:pt idx="2">
                  <c:v>34</c:v>
                </c:pt>
                <c:pt idx="3">
                  <c:v>41</c:v>
                </c:pt>
                <c:pt idx="4">
                  <c:v>6</c:v>
                </c:pt>
                <c:pt idx="5">
                  <c:v>15</c:v>
                </c:pt>
                <c:pt idx="6">
                  <c:v>1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4%q</c:v>
                  </c:pt>
                  <c:pt idx="1">
                    <c:v>12%q</c:v>
                  </c:pt>
                  <c:pt idx="2">
                    <c:v>34%</c:v>
                  </c:pt>
                  <c:pt idx="3">
                    <c:v>41%</c:v>
                  </c:pt>
                  <c:pt idx="4">
                    <c:v>6%</c:v>
                  </c:pt>
                  <c:pt idx="5">
                    <c:v>15%</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1</c:v>
                </c:pt>
                <c:pt idx="1">
                  <c:v>42</c:v>
                </c:pt>
                <c:pt idx="2">
                  <c:v>4</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9</c:v>
                </c:pt>
                <c:pt idx="2">
                  <c:v>2</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c:v>
                </c:pt>
                <c:pt idx="1">
                  <c:v>0.84</c:v>
                </c:pt>
                <c:pt idx="2">
                  <c:v>0.83</c:v>
                </c:pt>
                <c:pt idx="3">
                  <c:v>0.87</c:v>
                </c:pt>
                <c:pt idx="4">
                  <c:v>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30F91372-C1F1-46B3-A314-4122218A372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6197D0E5-4E6D-4F22-BE7E-E70529DC068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354335A3-AAA7-44A1-985E-333E3235847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0950C90E-4199-4B0D-97CE-5D6E12DB7AB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c:v>
                </c:pt>
                <c:pt idx="1">
                  <c:v>0.16</c:v>
                </c:pt>
                <c:pt idx="2">
                  <c:v>0.17</c:v>
                </c:pt>
                <c:pt idx="3">
                  <c:v>0.13</c:v>
                </c:pt>
                <c:pt idx="4">
                  <c:v>0.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0%</c:v>
                  </c:pt>
                  <c:pt idx="1">
                    <c:v>84%</c:v>
                  </c:pt>
                  <c:pt idx="2">
                    <c:v>83%</c:v>
                  </c:pt>
                  <c:pt idx="3">
                    <c:v>87%</c:v>
                  </c:pt>
                  <c:pt idx="4">
                    <c:v>80%</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KENT AND MEDWAY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KENT AND MEDWAY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KENT AND MEDWAY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KENT AND MEDWAY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KENT AND MEDWAY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KENT AND MEDWAY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663400283"/>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foot check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50071064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63144869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urine test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9469157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KENT AND MEDWA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24073109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52825855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3% of respondents who were marked as Type 1 in the sample selected ‘Type 1’, 6%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89% of respondents who were marked as Type 2 in the sample selected ‘Type 2’, 3% selected ‘Type 1’, 4%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69); Type 2, ICS (639)).</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0890440"/>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866977117"/>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3965931340"/>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679069566"/>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298337855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97); Type 2, National (19,941), ICS (515))</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367074883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5227029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412); Type 2, National (22,278), ICS (584))</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4771784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367268578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75); Type 2, National (21,082), ICS (559))</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77520801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49626415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70); Type 2, National (24,180), ICS (633))</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256175102"/>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225086195"/>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4158062838"/>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055191722"/>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192436025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43); Type 2, National (22,482), ICS (581))</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0598891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40526175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37035161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29708933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86199046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42112404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91500159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7616767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94416488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51); Type 2, National (22,670), ICS (58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64085774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16790703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74319340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122555149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79861148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27297495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72158630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76530539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338901169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69); Type 2, National (24,076), ICS (635))</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18748326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42678357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4020815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97484781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45389623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27914009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8977207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8233970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67); Type 2, National (24,153), ICS (634))</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26771067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9133192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126916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33772344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4406527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62663990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575870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329186822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419953116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68); Type 2, National (24,135), ICS (63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1166574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61614606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199921708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422387847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47604514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5497614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93405233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42975106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95148052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67); Type 2, National (24,084), ICS (63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79480996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13198658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06175249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68093774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43759343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75320678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230116589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35590558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9454628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68); Type 2, National (24,070), ICS (63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05345678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126094056"/>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95394808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500990298"/>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676078486"/>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105977234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334648632"/>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5626707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07742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68); Type 2, National (24,260), ICS (63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19203303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141931507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51188754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98570100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75436270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49994171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2348584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85692367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00140134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69); Type 2, National (24,267), ICS (636))</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58475635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288758412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75061388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252542628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39883737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66880327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8004063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9664487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1285265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70); Type 2, National (24,196), ICS (63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414689492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27144413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48241960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69); Type 2, National (24,019), ICS (634))</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4973401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75169764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18); Type 2, National (11,860), ICS (297))</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11261154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427029304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54); Type 2, National (21,228), ICS (567))</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72674131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77841319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49); Type 2, National (20,915), ICS (55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157364885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4897885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23); Type 2, National (20,086), ICS (536))</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31722406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401356855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34); Type 2, National (21,890), ICS (580))</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60343681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7279842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422); Type 2, National (18,585), ICS (499))</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3189558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00215615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125773495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230223784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364158709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78308680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8136773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84352631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53); Type 2, National (22,580), ICS (585))</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98164687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1685496805"/>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337667931"/>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4013827955"/>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773087551"/>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1959013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45); Type 2, National (12,350), ICS (331))</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3503135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803817058"/>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89968540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30403215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09804526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03200294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410387136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65723930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59); Type 2, National (10,911), ICS (302))</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8271731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09799737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665496854"/>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403825402"/>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144394262"/>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71849612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758462512"/>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45))</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14332807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270648710"/>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9673633"/>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365256979"/>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617254882"/>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811416775"/>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85))</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KENT AND MEDWAY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587</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111</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3%</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70</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641</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048</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539</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479217597"/>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484825740"/>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826087455"/>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725817032"/>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1688831488"/>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035344719"/>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58529550"/>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KENT AND MEDWA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217433970"/>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46605602"/>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44941087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922877988"/>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5</TotalTime>
  <Words>5259</Words>
  <Application>Microsoft Office PowerPoint</Application>
  <PresentationFormat>Widescreen</PresentationFormat>
  <Paragraphs>806</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Wingdings</vt:lpstr>
      <vt:lpstr>Arial Black</vt:lpstr>
      <vt:lpstr>Roboto</vt:lpstr>
      <vt:lpstr>HelveticaNeueLT Std Lt Cn</vt:lpstr>
      <vt:lpstr>Arial</vt:lpstr>
      <vt:lpstr>Wingdings 3</vt:lpstr>
      <vt:lpstr>Arial (Body)</vt:lpstr>
      <vt:lpstr>Barlow</vt:lpstr>
      <vt:lpstr>Segoe UI</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Katherine Fisher</cp:lastModifiedBy>
  <cp:revision>173</cp:revision>
  <cp:lastPrinted>2024-09-17T13:37:47Z</cp:lastPrinted>
  <dcterms:created xsi:type="dcterms:W3CDTF">2024-06-17T14:42:21Z</dcterms:created>
  <dcterms:modified xsi:type="dcterms:W3CDTF">2024-12-04T10:4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